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41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5581C48-DD92-418F-B72E-8610E8BD8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5581C48-DD92-418F-B72E-8610E8BD8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5F8F6F-AD1F-82EC-E307-49182DC02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/>
              <a:t>Framework slide – Weighing Scale Layout</a:t>
            </a:r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99A3668-7E7D-4031-855A-8DD0D422E69A}"/>
              </a:ext>
            </a:extLst>
          </p:cNvPr>
          <p:cNvGrpSpPr/>
          <p:nvPr/>
        </p:nvGrpSpPr>
        <p:grpSpPr>
          <a:xfrm>
            <a:off x="5015013" y="6068980"/>
            <a:ext cx="8798034" cy="3227421"/>
            <a:chOff x="5014219" y="6068979"/>
            <a:chExt cx="8798034" cy="3227421"/>
          </a:xfrm>
          <a:solidFill>
            <a:schemeClr val="accent1"/>
          </a:solidFill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7598798-A3F7-47E6-B5AD-744509B45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5906" y="7709216"/>
              <a:ext cx="3735850" cy="1038964"/>
            </a:xfrm>
            <a:custGeom>
              <a:avLst/>
              <a:gdLst>
                <a:gd name="T0" fmla="*/ 550 w 693"/>
                <a:gd name="T1" fmla="*/ 0 h 194"/>
                <a:gd name="T2" fmla="*/ 441 w 693"/>
                <a:gd name="T3" fmla="*/ 83 h 194"/>
                <a:gd name="T4" fmla="*/ 321 w 693"/>
                <a:gd name="T5" fmla="*/ 83 h 194"/>
                <a:gd name="T6" fmla="*/ 298 w 693"/>
                <a:gd name="T7" fmla="*/ 83 h 194"/>
                <a:gd name="T8" fmla="*/ 298 w 693"/>
                <a:gd name="T9" fmla="*/ 138 h 194"/>
                <a:gd name="T10" fmla="*/ 693 w 693"/>
                <a:gd name="T11" fmla="*/ 37 h 194"/>
                <a:gd name="T12" fmla="*/ 693 w 693"/>
                <a:gd name="T13" fmla="*/ 106 h 194"/>
                <a:gd name="T14" fmla="*/ 406 w 693"/>
                <a:gd name="T15" fmla="*/ 160 h 194"/>
                <a:gd name="T16" fmla="*/ 314 w 693"/>
                <a:gd name="T17" fmla="*/ 177 h 194"/>
                <a:gd name="T18" fmla="*/ 289 w 693"/>
                <a:gd name="T19" fmla="*/ 188 h 194"/>
                <a:gd name="T20" fmla="*/ 235 w 693"/>
                <a:gd name="T21" fmla="*/ 183 h 194"/>
                <a:gd name="T22" fmla="*/ 240 w 693"/>
                <a:gd name="T23" fmla="*/ 154 h 194"/>
                <a:gd name="T24" fmla="*/ 253 w 693"/>
                <a:gd name="T25" fmla="*/ 131 h 194"/>
                <a:gd name="T26" fmla="*/ 252 w 693"/>
                <a:gd name="T27" fmla="*/ 89 h 194"/>
                <a:gd name="T28" fmla="*/ 249 w 693"/>
                <a:gd name="T29" fmla="*/ 83 h 194"/>
                <a:gd name="T30" fmla="*/ 195 w 693"/>
                <a:gd name="T31" fmla="*/ 83 h 194"/>
                <a:gd name="T32" fmla="*/ 105 w 693"/>
                <a:gd name="T33" fmla="*/ 83 h 194"/>
                <a:gd name="T34" fmla="*/ 0 w 693"/>
                <a:gd name="T35" fmla="*/ 0 h 194"/>
                <a:gd name="T36" fmla="*/ 550 w 693"/>
                <a:gd name="T37" fmla="*/ 0 h 194"/>
                <a:gd name="T38" fmla="*/ 292 w 693"/>
                <a:gd name="T39" fmla="*/ 164 h 194"/>
                <a:gd name="T40" fmla="*/ 273 w 693"/>
                <a:gd name="T41" fmla="*/ 153 h 194"/>
                <a:gd name="T42" fmla="*/ 263 w 693"/>
                <a:gd name="T43" fmla="*/ 166 h 194"/>
                <a:gd name="T44" fmla="*/ 274 w 693"/>
                <a:gd name="T45" fmla="*/ 176 h 194"/>
                <a:gd name="T46" fmla="*/ 292 w 693"/>
                <a:gd name="T47" fmla="*/ 16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3" h="194">
                  <a:moveTo>
                    <a:pt x="550" y="0"/>
                  </a:moveTo>
                  <a:cubicBezTo>
                    <a:pt x="539" y="49"/>
                    <a:pt x="495" y="82"/>
                    <a:pt x="441" y="83"/>
                  </a:cubicBezTo>
                  <a:cubicBezTo>
                    <a:pt x="401" y="84"/>
                    <a:pt x="361" y="83"/>
                    <a:pt x="321" y="83"/>
                  </a:cubicBezTo>
                  <a:cubicBezTo>
                    <a:pt x="313" y="83"/>
                    <a:pt x="306" y="83"/>
                    <a:pt x="298" y="83"/>
                  </a:cubicBezTo>
                  <a:cubicBezTo>
                    <a:pt x="298" y="102"/>
                    <a:pt x="298" y="118"/>
                    <a:pt x="298" y="138"/>
                  </a:cubicBezTo>
                  <a:cubicBezTo>
                    <a:pt x="430" y="104"/>
                    <a:pt x="560" y="71"/>
                    <a:pt x="693" y="37"/>
                  </a:cubicBezTo>
                  <a:cubicBezTo>
                    <a:pt x="693" y="61"/>
                    <a:pt x="693" y="83"/>
                    <a:pt x="693" y="106"/>
                  </a:cubicBezTo>
                  <a:cubicBezTo>
                    <a:pt x="597" y="124"/>
                    <a:pt x="501" y="142"/>
                    <a:pt x="406" y="160"/>
                  </a:cubicBezTo>
                  <a:cubicBezTo>
                    <a:pt x="375" y="166"/>
                    <a:pt x="344" y="171"/>
                    <a:pt x="314" y="177"/>
                  </a:cubicBezTo>
                  <a:cubicBezTo>
                    <a:pt x="305" y="179"/>
                    <a:pt x="297" y="184"/>
                    <a:pt x="289" y="188"/>
                  </a:cubicBezTo>
                  <a:cubicBezTo>
                    <a:pt x="279" y="194"/>
                    <a:pt x="242" y="192"/>
                    <a:pt x="235" y="183"/>
                  </a:cubicBezTo>
                  <a:cubicBezTo>
                    <a:pt x="226" y="172"/>
                    <a:pt x="227" y="159"/>
                    <a:pt x="240" y="154"/>
                  </a:cubicBezTo>
                  <a:cubicBezTo>
                    <a:pt x="252" y="149"/>
                    <a:pt x="253" y="142"/>
                    <a:pt x="253" y="131"/>
                  </a:cubicBezTo>
                  <a:cubicBezTo>
                    <a:pt x="252" y="117"/>
                    <a:pt x="252" y="103"/>
                    <a:pt x="252" y="89"/>
                  </a:cubicBezTo>
                  <a:cubicBezTo>
                    <a:pt x="252" y="88"/>
                    <a:pt x="251" y="87"/>
                    <a:pt x="249" y="83"/>
                  </a:cubicBezTo>
                  <a:cubicBezTo>
                    <a:pt x="232" y="83"/>
                    <a:pt x="214" y="83"/>
                    <a:pt x="195" y="83"/>
                  </a:cubicBezTo>
                  <a:cubicBezTo>
                    <a:pt x="165" y="83"/>
                    <a:pt x="135" y="83"/>
                    <a:pt x="105" y="83"/>
                  </a:cubicBezTo>
                  <a:cubicBezTo>
                    <a:pt x="61" y="83"/>
                    <a:pt x="8" y="51"/>
                    <a:pt x="0" y="0"/>
                  </a:cubicBezTo>
                  <a:cubicBezTo>
                    <a:pt x="183" y="0"/>
                    <a:pt x="366" y="0"/>
                    <a:pt x="550" y="0"/>
                  </a:cubicBezTo>
                  <a:close/>
                  <a:moveTo>
                    <a:pt x="292" y="164"/>
                  </a:moveTo>
                  <a:cubicBezTo>
                    <a:pt x="283" y="158"/>
                    <a:pt x="277" y="152"/>
                    <a:pt x="273" y="153"/>
                  </a:cubicBezTo>
                  <a:cubicBezTo>
                    <a:pt x="269" y="154"/>
                    <a:pt x="264" y="161"/>
                    <a:pt x="263" y="166"/>
                  </a:cubicBezTo>
                  <a:cubicBezTo>
                    <a:pt x="262" y="169"/>
                    <a:pt x="270" y="176"/>
                    <a:pt x="274" y="176"/>
                  </a:cubicBezTo>
                  <a:cubicBezTo>
                    <a:pt x="279" y="176"/>
                    <a:pt x="283" y="170"/>
                    <a:pt x="292" y="1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6C4343B-138B-41FC-9161-EAC62D69C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17245" y="6272351"/>
              <a:ext cx="3793323" cy="1706553"/>
            </a:xfrm>
            <a:custGeom>
              <a:avLst/>
              <a:gdLst>
                <a:gd name="T0" fmla="*/ 23 w 704"/>
                <a:gd name="T1" fmla="*/ 318 h 318"/>
                <a:gd name="T2" fmla="*/ 0 w 704"/>
                <a:gd name="T3" fmla="*/ 254 h 318"/>
                <a:gd name="T4" fmla="*/ 409 w 704"/>
                <a:gd name="T5" fmla="*/ 150 h 318"/>
                <a:gd name="T6" fmla="*/ 408 w 704"/>
                <a:gd name="T7" fmla="*/ 92 h 318"/>
                <a:gd name="T8" fmla="*/ 392 w 704"/>
                <a:gd name="T9" fmla="*/ 82 h 318"/>
                <a:gd name="T10" fmla="*/ 260 w 704"/>
                <a:gd name="T11" fmla="*/ 81 h 318"/>
                <a:gd name="T12" fmla="*/ 155 w 704"/>
                <a:gd name="T13" fmla="*/ 0 h 318"/>
                <a:gd name="T14" fmla="*/ 704 w 704"/>
                <a:gd name="T15" fmla="*/ 0 h 318"/>
                <a:gd name="T16" fmla="*/ 606 w 704"/>
                <a:gd name="T17" fmla="*/ 80 h 318"/>
                <a:gd name="T18" fmla="*/ 470 w 704"/>
                <a:gd name="T19" fmla="*/ 81 h 318"/>
                <a:gd name="T20" fmla="*/ 451 w 704"/>
                <a:gd name="T21" fmla="*/ 100 h 318"/>
                <a:gd name="T22" fmla="*/ 452 w 704"/>
                <a:gd name="T23" fmla="*/ 122 h 318"/>
                <a:gd name="T24" fmla="*/ 462 w 704"/>
                <a:gd name="T25" fmla="*/ 139 h 318"/>
                <a:gd name="T26" fmla="*/ 473 w 704"/>
                <a:gd name="T27" fmla="*/ 158 h 318"/>
                <a:gd name="T28" fmla="*/ 462 w 704"/>
                <a:gd name="T29" fmla="*/ 175 h 318"/>
                <a:gd name="T30" fmla="*/ 378 w 704"/>
                <a:gd name="T31" fmla="*/ 202 h 318"/>
                <a:gd name="T32" fmla="*/ 105 w 704"/>
                <a:gd name="T33" fmla="*/ 291 h 318"/>
                <a:gd name="T34" fmla="*/ 32 w 704"/>
                <a:gd name="T35" fmla="*/ 317 h 318"/>
                <a:gd name="T36" fmla="*/ 23 w 704"/>
                <a:gd name="T37" fmla="*/ 318 h 318"/>
                <a:gd name="T38" fmla="*/ 447 w 704"/>
                <a:gd name="T39" fmla="*/ 163 h 318"/>
                <a:gd name="T40" fmla="*/ 431 w 704"/>
                <a:gd name="T41" fmla="*/ 152 h 318"/>
                <a:gd name="T42" fmla="*/ 419 w 704"/>
                <a:gd name="T43" fmla="*/ 164 h 318"/>
                <a:gd name="T44" fmla="*/ 429 w 704"/>
                <a:gd name="T45" fmla="*/ 174 h 318"/>
                <a:gd name="T46" fmla="*/ 447 w 704"/>
                <a:gd name="T47" fmla="*/ 163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4" h="318">
                  <a:moveTo>
                    <a:pt x="23" y="318"/>
                  </a:moveTo>
                  <a:cubicBezTo>
                    <a:pt x="15" y="297"/>
                    <a:pt x="8" y="277"/>
                    <a:pt x="0" y="254"/>
                  </a:cubicBezTo>
                  <a:cubicBezTo>
                    <a:pt x="134" y="220"/>
                    <a:pt x="270" y="185"/>
                    <a:pt x="409" y="150"/>
                  </a:cubicBezTo>
                  <a:cubicBezTo>
                    <a:pt x="409" y="130"/>
                    <a:pt x="410" y="111"/>
                    <a:pt x="408" y="92"/>
                  </a:cubicBezTo>
                  <a:cubicBezTo>
                    <a:pt x="407" y="88"/>
                    <a:pt x="397" y="82"/>
                    <a:pt x="392" y="82"/>
                  </a:cubicBezTo>
                  <a:cubicBezTo>
                    <a:pt x="348" y="81"/>
                    <a:pt x="304" y="82"/>
                    <a:pt x="260" y="81"/>
                  </a:cubicBezTo>
                  <a:cubicBezTo>
                    <a:pt x="209" y="80"/>
                    <a:pt x="168" y="48"/>
                    <a:pt x="155" y="0"/>
                  </a:cubicBezTo>
                  <a:cubicBezTo>
                    <a:pt x="338" y="0"/>
                    <a:pt x="521" y="0"/>
                    <a:pt x="704" y="0"/>
                  </a:cubicBezTo>
                  <a:cubicBezTo>
                    <a:pt x="700" y="40"/>
                    <a:pt x="655" y="78"/>
                    <a:pt x="606" y="80"/>
                  </a:cubicBezTo>
                  <a:cubicBezTo>
                    <a:pt x="561" y="82"/>
                    <a:pt x="516" y="81"/>
                    <a:pt x="470" y="81"/>
                  </a:cubicBezTo>
                  <a:cubicBezTo>
                    <a:pt x="455" y="81"/>
                    <a:pt x="449" y="85"/>
                    <a:pt x="451" y="100"/>
                  </a:cubicBezTo>
                  <a:cubicBezTo>
                    <a:pt x="452" y="107"/>
                    <a:pt x="450" y="115"/>
                    <a:pt x="452" y="122"/>
                  </a:cubicBezTo>
                  <a:cubicBezTo>
                    <a:pt x="453" y="128"/>
                    <a:pt x="458" y="134"/>
                    <a:pt x="462" y="139"/>
                  </a:cubicBezTo>
                  <a:cubicBezTo>
                    <a:pt x="466" y="146"/>
                    <a:pt x="473" y="152"/>
                    <a:pt x="473" y="158"/>
                  </a:cubicBezTo>
                  <a:cubicBezTo>
                    <a:pt x="474" y="163"/>
                    <a:pt x="467" y="170"/>
                    <a:pt x="462" y="175"/>
                  </a:cubicBezTo>
                  <a:cubicBezTo>
                    <a:pt x="439" y="198"/>
                    <a:pt x="406" y="192"/>
                    <a:pt x="378" y="202"/>
                  </a:cubicBezTo>
                  <a:cubicBezTo>
                    <a:pt x="288" y="233"/>
                    <a:pt x="196" y="262"/>
                    <a:pt x="105" y="291"/>
                  </a:cubicBezTo>
                  <a:cubicBezTo>
                    <a:pt x="81" y="300"/>
                    <a:pt x="56" y="309"/>
                    <a:pt x="32" y="317"/>
                  </a:cubicBezTo>
                  <a:cubicBezTo>
                    <a:pt x="28" y="318"/>
                    <a:pt x="24" y="318"/>
                    <a:pt x="23" y="318"/>
                  </a:cubicBezTo>
                  <a:close/>
                  <a:moveTo>
                    <a:pt x="447" y="163"/>
                  </a:moveTo>
                  <a:cubicBezTo>
                    <a:pt x="439" y="158"/>
                    <a:pt x="434" y="151"/>
                    <a:pt x="431" y="152"/>
                  </a:cubicBezTo>
                  <a:cubicBezTo>
                    <a:pt x="426" y="153"/>
                    <a:pt x="420" y="159"/>
                    <a:pt x="419" y="164"/>
                  </a:cubicBezTo>
                  <a:cubicBezTo>
                    <a:pt x="418" y="166"/>
                    <a:pt x="425" y="174"/>
                    <a:pt x="429" y="174"/>
                  </a:cubicBezTo>
                  <a:cubicBezTo>
                    <a:pt x="434" y="174"/>
                    <a:pt x="439" y="169"/>
                    <a:pt x="447" y="1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CD0275B6-0890-40B2-B163-8D324D67D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7117" y="7505845"/>
              <a:ext cx="1936452" cy="1542973"/>
            </a:xfrm>
            <a:custGeom>
              <a:avLst/>
              <a:gdLst>
                <a:gd name="T0" fmla="*/ 1 w 359"/>
                <a:gd name="T1" fmla="*/ 288 h 288"/>
                <a:gd name="T2" fmla="*/ 54 w 359"/>
                <a:gd name="T3" fmla="*/ 213 h 288"/>
                <a:gd name="T4" fmla="*/ 94 w 359"/>
                <a:gd name="T5" fmla="*/ 154 h 288"/>
                <a:gd name="T6" fmla="*/ 94 w 359"/>
                <a:gd name="T7" fmla="*/ 86 h 288"/>
                <a:gd name="T8" fmla="*/ 144 w 359"/>
                <a:gd name="T9" fmla="*/ 13 h 288"/>
                <a:gd name="T10" fmla="*/ 232 w 359"/>
                <a:gd name="T11" fmla="*/ 23 h 288"/>
                <a:gd name="T12" fmla="*/ 266 w 359"/>
                <a:gd name="T13" fmla="*/ 105 h 288"/>
                <a:gd name="T14" fmla="*/ 266 w 359"/>
                <a:gd name="T15" fmla="*/ 141 h 288"/>
                <a:gd name="T16" fmla="*/ 319 w 359"/>
                <a:gd name="T17" fmla="*/ 217 h 288"/>
                <a:gd name="T18" fmla="*/ 359 w 359"/>
                <a:gd name="T19" fmla="*/ 288 h 288"/>
                <a:gd name="T20" fmla="*/ 1 w 359"/>
                <a:gd name="T21" fmla="*/ 288 h 288"/>
                <a:gd name="T22" fmla="*/ 177 w 359"/>
                <a:gd name="T23" fmla="*/ 57 h 288"/>
                <a:gd name="T24" fmla="*/ 154 w 359"/>
                <a:gd name="T25" fmla="*/ 86 h 288"/>
                <a:gd name="T26" fmla="*/ 181 w 359"/>
                <a:gd name="T27" fmla="*/ 113 h 288"/>
                <a:gd name="T28" fmla="*/ 208 w 359"/>
                <a:gd name="T29" fmla="*/ 84 h 288"/>
                <a:gd name="T30" fmla="*/ 177 w 359"/>
                <a:gd name="T31" fmla="*/ 5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9" h="288">
                  <a:moveTo>
                    <a:pt x="1" y="288"/>
                  </a:moveTo>
                  <a:cubicBezTo>
                    <a:pt x="0" y="249"/>
                    <a:pt x="16" y="224"/>
                    <a:pt x="54" y="213"/>
                  </a:cubicBezTo>
                  <a:cubicBezTo>
                    <a:pt x="80" y="204"/>
                    <a:pt x="94" y="182"/>
                    <a:pt x="94" y="154"/>
                  </a:cubicBezTo>
                  <a:cubicBezTo>
                    <a:pt x="95" y="131"/>
                    <a:pt x="94" y="109"/>
                    <a:pt x="94" y="86"/>
                  </a:cubicBezTo>
                  <a:cubicBezTo>
                    <a:pt x="94" y="51"/>
                    <a:pt x="115" y="26"/>
                    <a:pt x="144" y="13"/>
                  </a:cubicBezTo>
                  <a:cubicBezTo>
                    <a:pt x="173" y="0"/>
                    <a:pt x="204" y="0"/>
                    <a:pt x="232" y="23"/>
                  </a:cubicBezTo>
                  <a:cubicBezTo>
                    <a:pt x="260" y="45"/>
                    <a:pt x="266" y="73"/>
                    <a:pt x="266" y="105"/>
                  </a:cubicBezTo>
                  <a:cubicBezTo>
                    <a:pt x="265" y="117"/>
                    <a:pt x="266" y="129"/>
                    <a:pt x="266" y="141"/>
                  </a:cubicBezTo>
                  <a:cubicBezTo>
                    <a:pt x="266" y="185"/>
                    <a:pt x="278" y="202"/>
                    <a:pt x="319" y="217"/>
                  </a:cubicBezTo>
                  <a:cubicBezTo>
                    <a:pt x="352" y="229"/>
                    <a:pt x="359" y="256"/>
                    <a:pt x="359" y="288"/>
                  </a:cubicBezTo>
                  <a:cubicBezTo>
                    <a:pt x="240" y="288"/>
                    <a:pt x="121" y="288"/>
                    <a:pt x="1" y="288"/>
                  </a:cubicBezTo>
                  <a:close/>
                  <a:moveTo>
                    <a:pt x="177" y="57"/>
                  </a:moveTo>
                  <a:cubicBezTo>
                    <a:pt x="162" y="57"/>
                    <a:pt x="153" y="69"/>
                    <a:pt x="154" y="86"/>
                  </a:cubicBezTo>
                  <a:cubicBezTo>
                    <a:pt x="154" y="102"/>
                    <a:pt x="166" y="114"/>
                    <a:pt x="181" y="113"/>
                  </a:cubicBezTo>
                  <a:cubicBezTo>
                    <a:pt x="197" y="112"/>
                    <a:pt x="208" y="100"/>
                    <a:pt x="208" y="84"/>
                  </a:cubicBezTo>
                  <a:cubicBezTo>
                    <a:pt x="208" y="70"/>
                    <a:pt x="191" y="56"/>
                    <a:pt x="177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BDCA755C-4D67-4C6D-B56B-097219A37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3114" y="9115133"/>
              <a:ext cx="2104454" cy="181267"/>
            </a:xfrm>
            <a:custGeom>
              <a:avLst/>
              <a:gdLst>
                <a:gd name="T0" fmla="*/ 390 w 391"/>
                <a:gd name="T1" fmla="*/ 0 h 34"/>
                <a:gd name="T2" fmla="*/ 364 w 391"/>
                <a:gd name="T3" fmla="*/ 34 h 34"/>
                <a:gd name="T4" fmla="*/ 28 w 391"/>
                <a:gd name="T5" fmla="*/ 34 h 34"/>
                <a:gd name="T6" fmla="*/ 4 w 391"/>
                <a:gd name="T7" fmla="*/ 0 h 34"/>
                <a:gd name="T8" fmla="*/ 390 w 391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4">
                  <a:moveTo>
                    <a:pt x="390" y="0"/>
                  </a:moveTo>
                  <a:cubicBezTo>
                    <a:pt x="391" y="24"/>
                    <a:pt x="384" y="34"/>
                    <a:pt x="364" y="34"/>
                  </a:cubicBezTo>
                  <a:cubicBezTo>
                    <a:pt x="252" y="34"/>
                    <a:pt x="140" y="34"/>
                    <a:pt x="28" y="34"/>
                  </a:cubicBezTo>
                  <a:cubicBezTo>
                    <a:pt x="7" y="34"/>
                    <a:pt x="0" y="23"/>
                    <a:pt x="4" y="0"/>
                  </a:cubicBezTo>
                  <a:cubicBezTo>
                    <a:pt x="132" y="0"/>
                    <a:pt x="260" y="0"/>
                    <a:pt x="3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88B3ED4-D7A2-4FDC-B9B5-96BE876BF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5572" y="6068979"/>
              <a:ext cx="3156681" cy="137056"/>
            </a:xfrm>
            <a:custGeom>
              <a:avLst/>
              <a:gdLst>
                <a:gd name="T0" fmla="*/ 295 w 586"/>
                <a:gd name="T1" fmla="*/ 6 h 26"/>
                <a:gd name="T2" fmla="*/ 561 w 586"/>
                <a:gd name="T3" fmla="*/ 6 h 26"/>
                <a:gd name="T4" fmla="*/ 579 w 586"/>
                <a:gd name="T5" fmla="*/ 7 h 26"/>
                <a:gd name="T6" fmla="*/ 586 w 586"/>
                <a:gd name="T7" fmla="*/ 15 h 26"/>
                <a:gd name="T8" fmla="*/ 578 w 586"/>
                <a:gd name="T9" fmla="*/ 24 h 26"/>
                <a:gd name="T10" fmla="*/ 559 w 586"/>
                <a:gd name="T11" fmla="*/ 25 h 26"/>
                <a:gd name="T12" fmla="*/ 25 w 586"/>
                <a:gd name="T13" fmla="*/ 25 h 26"/>
                <a:gd name="T14" fmla="*/ 1 w 586"/>
                <a:gd name="T15" fmla="*/ 17 h 26"/>
                <a:gd name="T16" fmla="*/ 25 w 586"/>
                <a:gd name="T17" fmla="*/ 6 h 26"/>
                <a:gd name="T18" fmla="*/ 295 w 586"/>
                <a:gd name="T1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6" h="26">
                  <a:moveTo>
                    <a:pt x="295" y="6"/>
                  </a:moveTo>
                  <a:cubicBezTo>
                    <a:pt x="384" y="6"/>
                    <a:pt x="472" y="6"/>
                    <a:pt x="561" y="6"/>
                  </a:cubicBezTo>
                  <a:cubicBezTo>
                    <a:pt x="567" y="6"/>
                    <a:pt x="573" y="6"/>
                    <a:pt x="579" y="7"/>
                  </a:cubicBezTo>
                  <a:cubicBezTo>
                    <a:pt x="582" y="8"/>
                    <a:pt x="586" y="13"/>
                    <a:pt x="586" y="15"/>
                  </a:cubicBezTo>
                  <a:cubicBezTo>
                    <a:pt x="585" y="18"/>
                    <a:pt x="582" y="23"/>
                    <a:pt x="578" y="24"/>
                  </a:cubicBezTo>
                  <a:cubicBezTo>
                    <a:pt x="572" y="26"/>
                    <a:pt x="565" y="25"/>
                    <a:pt x="559" y="25"/>
                  </a:cubicBezTo>
                  <a:cubicBezTo>
                    <a:pt x="381" y="25"/>
                    <a:pt x="203" y="25"/>
                    <a:pt x="25" y="25"/>
                  </a:cubicBezTo>
                  <a:cubicBezTo>
                    <a:pt x="16" y="25"/>
                    <a:pt x="0" y="19"/>
                    <a:pt x="1" y="17"/>
                  </a:cubicBezTo>
                  <a:cubicBezTo>
                    <a:pt x="1" y="0"/>
                    <a:pt x="16" y="6"/>
                    <a:pt x="25" y="6"/>
                  </a:cubicBezTo>
                  <a:cubicBezTo>
                    <a:pt x="115" y="6"/>
                    <a:pt x="205" y="6"/>
                    <a:pt x="295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C5A3E67C-F7B2-45D8-A04C-BBDA59871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219" y="7536791"/>
              <a:ext cx="3169946" cy="119372"/>
            </a:xfrm>
            <a:custGeom>
              <a:avLst/>
              <a:gdLst>
                <a:gd name="T0" fmla="*/ 292 w 588"/>
                <a:gd name="T1" fmla="*/ 20 h 22"/>
                <a:gd name="T2" fmla="*/ 21 w 588"/>
                <a:gd name="T3" fmla="*/ 20 h 22"/>
                <a:gd name="T4" fmla="*/ 9 w 588"/>
                <a:gd name="T5" fmla="*/ 20 h 22"/>
                <a:gd name="T6" fmla="*/ 0 w 588"/>
                <a:gd name="T7" fmla="*/ 11 h 22"/>
                <a:gd name="T8" fmla="*/ 8 w 588"/>
                <a:gd name="T9" fmla="*/ 3 h 22"/>
                <a:gd name="T10" fmla="*/ 24 w 588"/>
                <a:gd name="T11" fmla="*/ 2 h 22"/>
                <a:gd name="T12" fmla="*/ 324 w 588"/>
                <a:gd name="T13" fmla="*/ 2 h 22"/>
                <a:gd name="T14" fmla="*/ 517 w 588"/>
                <a:gd name="T15" fmla="*/ 0 h 22"/>
                <a:gd name="T16" fmla="*/ 572 w 588"/>
                <a:gd name="T17" fmla="*/ 1 h 22"/>
                <a:gd name="T18" fmla="*/ 588 w 588"/>
                <a:gd name="T19" fmla="*/ 12 h 22"/>
                <a:gd name="T20" fmla="*/ 571 w 588"/>
                <a:gd name="T21" fmla="*/ 21 h 22"/>
                <a:gd name="T22" fmla="*/ 292 w 588"/>
                <a:gd name="T23" fmla="*/ 22 h 22"/>
                <a:gd name="T24" fmla="*/ 292 w 588"/>
                <a:gd name="T25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8" h="22">
                  <a:moveTo>
                    <a:pt x="292" y="20"/>
                  </a:moveTo>
                  <a:cubicBezTo>
                    <a:pt x="202" y="20"/>
                    <a:pt x="111" y="20"/>
                    <a:pt x="21" y="20"/>
                  </a:cubicBezTo>
                  <a:cubicBezTo>
                    <a:pt x="17" y="20"/>
                    <a:pt x="12" y="21"/>
                    <a:pt x="9" y="20"/>
                  </a:cubicBezTo>
                  <a:cubicBezTo>
                    <a:pt x="5" y="18"/>
                    <a:pt x="1" y="15"/>
                    <a:pt x="0" y="11"/>
                  </a:cubicBezTo>
                  <a:cubicBezTo>
                    <a:pt x="0" y="9"/>
                    <a:pt x="5" y="4"/>
                    <a:pt x="8" y="3"/>
                  </a:cubicBezTo>
                  <a:cubicBezTo>
                    <a:pt x="13" y="1"/>
                    <a:pt x="19" y="2"/>
                    <a:pt x="24" y="2"/>
                  </a:cubicBezTo>
                  <a:cubicBezTo>
                    <a:pt x="124" y="2"/>
                    <a:pt x="224" y="2"/>
                    <a:pt x="324" y="2"/>
                  </a:cubicBezTo>
                  <a:cubicBezTo>
                    <a:pt x="388" y="2"/>
                    <a:pt x="452" y="1"/>
                    <a:pt x="517" y="0"/>
                  </a:cubicBezTo>
                  <a:cubicBezTo>
                    <a:pt x="535" y="0"/>
                    <a:pt x="554" y="0"/>
                    <a:pt x="572" y="1"/>
                  </a:cubicBezTo>
                  <a:cubicBezTo>
                    <a:pt x="578" y="1"/>
                    <a:pt x="583" y="8"/>
                    <a:pt x="588" y="12"/>
                  </a:cubicBezTo>
                  <a:cubicBezTo>
                    <a:pt x="582" y="15"/>
                    <a:pt x="577" y="21"/>
                    <a:pt x="571" y="21"/>
                  </a:cubicBezTo>
                  <a:cubicBezTo>
                    <a:pt x="478" y="22"/>
                    <a:pt x="385" y="22"/>
                    <a:pt x="292" y="22"/>
                  </a:cubicBezTo>
                  <a:cubicBezTo>
                    <a:pt x="292" y="21"/>
                    <a:pt x="292" y="21"/>
                    <a:pt x="29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:a16="http://schemas.microsoft.com/office/drawing/2014/main" id="{A51906A0-9527-4612-A3D2-56683D408DE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83760" y="4391004"/>
            <a:ext cx="1714981" cy="1707650"/>
          </a:xfrm>
          <a:custGeom>
            <a:avLst/>
            <a:gdLst>
              <a:gd name="T0" fmla="*/ 1344 w 1344"/>
              <a:gd name="T1" fmla="*/ 675 h 1345"/>
              <a:gd name="T2" fmla="*/ 1344 w 1344"/>
              <a:gd name="T3" fmla="*/ 1099 h 1345"/>
              <a:gd name="T4" fmla="*/ 1177 w 1344"/>
              <a:gd name="T5" fmla="*/ 1330 h 1345"/>
              <a:gd name="T6" fmla="*/ 1099 w 1344"/>
              <a:gd name="T7" fmla="*/ 1344 h 1345"/>
              <a:gd name="T8" fmla="*/ 245 w 1344"/>
              <a:gd name="T9" fmla="*/ 1344 h 1345"/>
              <a:gd name="T10" fmla="*/ 4 w 1344"/>
              <a:gd name="T11" fmla="*/ 1134 h 1345"/>
              <a:gd name="T12" fmla="*/ 0 w 1344"/>
              <a:gd name="T13" fmla="*/ 1097 h 1345"/>
              <a:gd name="T14" fmla="*/ 0 w 1344"/>
              <a:gd name="T15" fmla="*/ 249 h 1345"/>
              <a:gd name="T16" fmla="*/ 169 w 1344"/>
              <a:gd name="T17" fmla="*/ 14 h 1345"/>
              <a:gd name="T18" fmla="*/ 245 w 1344"/>
              <a:gd name="T19" fmla="*/ 1 h 1345"/>
              <a:gd name="T20" fmla="*/ 1099 w 1344"/>
              <a:gd name="T21" fmla="*/ 1 h 1345"/>
              <a:gd name="T22" fmla="*/ 1340 w 1344"/>
              <a:gd name="T23" fmla="*/ 211 h 1345"/>
              <a:gd name="T24" fmla="*/ 1344 w 1344"/>
              <a:gd name="T25" fmla="*/ 259 h 1345"/>
              <a:gd name="T26" fmla="*/ 1344 w 1344"/>
              <a:gd name="T27" fmla="*/ 675 h 1345"/>
              <a:gd name="T28" fmla="*/ 784 w 1344"/>
              <a:gd name="T29" fmla="*/ 785 h 1345"/>
              <a:gd name="T30" fmla="*/ 807 w 1344"/>
              <a:gd name="T31" fmla="*/ 785 h 1345"/>
              <a:gd name="T32" fmla="*/ 1051 w 1344"/>
              <a:gd name="T33" fmla="*/ 785 h 1345"/>
              <a:gd name="T34" fmla="*/ 1120 w 1344"/>
              <a:gd name="T35" fmla="*/ 717 h 1345"/>
              <a:gd name="T36" fmla="*/ 1120 w 1344"/>
              <a:gd name="T37" fmla="*/ 627 h 1345"/>
              <a:gd name="T38" fmla="*/ 1054 w 1344"/>
              <a:gd name="T39" fmla="*/ 561 h 1345"/>
              <a:gd name="T40" fmla="*/ 806 w 1344"/>
              <a:gd name="T41" fmla="*/ 561 h 1345"/>
              <a:gd name="T42" fmla="*/ 784 w 1344"/>
              <a:gd name="T43" fmla="*/ 561 h 1345"/>
              <a:gd name="T44" fmla="*/ 784 w 1344"/>
              <a:gd name="T45" fmla="*/ 536 h 1345"/>
              <a:gd name="T46" fmla="*/ 784 w 1344"/>
              <a:gd name="T47" fmla="*/ 292 h 1345"/>
              <a:gd name="T48" fmla="*/ 717 w 1344"/>
              <a:gd name="T49" fmla="*/ 225 h 1345"/>
              <a:gd name="T50" fmla="*/ 625 w 1344"/>
              <a:gd name="T51" fmla="*/ 225 h 1345"/>
              <a:gd name="T52" fmla="*/ 560 w 1344"/>
              <a:gd name="T53" fmla="*/ 289 h 1345"/>
              <a:gd name="T54" fmla="*/ 560 w 1344"/>
              <a:gd name="T55" fmla="*/ 537 h 1345"/>
              <a:gd name="T56" fmla="*/ 560 w 1344"/>
              <a:gd name="T57" fmla="*/ 561 h 1345"/>
              <a:gd name="T58" fmla="*/ 537 w 1344"/>
              <a:gd name="T59" fmla="*/ 561 h 1345"/>
              <a:gd name="T60" fmla="*/ 295 w 1344"/>
              <a:gd name="T61" fmla="*/ 561 h 1345"/>
              <a:gd name="T62" fmla="*/ 224 w 1344"/>
              <a:gd name="T63" fmla="*/ 632 h 1345"/>
              <a:gd name="T64" fmla="*/ 224 w 1344"/>
              <a:gd name="T65" fmla="*/ 718 h 1345"/>
              <a:gd name="T66" fmla="*/ 290 w 1344"/>
              <a:gd name="T67" fmla="*/ 785 h 1345"/>
              <a:gd name="T68" fmla="*/ 538 w 1344"/>
              <a:gd name="T69" fmla="*/ 785 h 1345"/>
              <a:gd name="T70" fmla="*/ 560 w 1344"/>
              <a:gd name="T71" fmla="*/ 785 h 1345"/>
              <a:gd name="T72" fmla="*/ 560 w 1344"/>
              <a:gd name="T73" fmla="*/ 809 h 1345"/>
              <a:gd name="T74" fmla="*/ 560 w 1344"/>
              <a:gd name="T75" fmla="*/ 1049 h 1345"/>
              <a:gd name="T76" fmla="*/ 633 w 1344"/>
              <a:gd name="T77" fmla="*/ 1121 h 1345"/>
              <a:gd name="T78" fmla="*/ 717 w 1344"/>
              <a:gd name="T79" fmla="*/ 1121 h 1345"/>
              <a:gd name="T80" fmla="*/ 784 w 1344"/>
              <a:gd name="T81" fmla="*/ 1054 h 1345"/>
              <a:gd name="T82" fmla="*/ 784 w 1344"/>
              <a:gd name="T83" fmla="*/ 785 h 1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344" h="1345">
                <a:moveTo>
                  <a:pt x="1344" y="675"/>
                </a:moveTo>
                <a:cubicBezTo>
                  <a:pt x="1344" y="816"/>
                  <a:pt x="1344" y="957"/>
                  <a:pt x="1344" y="1099"/>
                </a:cubicBezTo>
                <a:cubicBezTo>
                  <a:pt x="1344" y="1212"/>
                  <a:pt x="1263" y="1299"/>
                  <a:pt x="1177" y="1330"/>
                </a:cubicBezTo>
                <a:cubicBezTo>
                  <a:pt x="1152" y="1339"/>
                  <a:pt x="1125" y="1344"/>
                  <a:pt x="1099" y="1344"/>
                </a:cubicBezTo>
                <a:cubicBezTo>
                  <a:pt x="814" y="1345"/>
                  <a:pt x="530" y="1345"/>
                  <a:pt x="245" y="1344"/>
                </a:cubicBezTo>
                <a:cubicBezTo>
                  <a:pt x="127" y="1344"/>
                  <a:pt x="22" y="1251"/>
                  <a:pt x="4" y="1134"/>
                </a:cubicBezTo>
                <a:cubicBezTo>
                  <a:pt x="2" y="1122"/>
                  <a:pt x="0" y="1109"/>
                  <a:pt x="0" y="1097"/>
                </a:cubicBezTo>
                <a:cubicBezTo>
                  <a:pt x="0" y="814"/>
                  <a:pt x="0" y="531"/>
                  <a:pt x="0" y="249"/>
                </a:cubicBezTo>
                <a:cubicBezTo>
                  <a:pt x="0" y="132"/>
                  <a:pt x="83" y="44"/>
                  <a:pt x="169" y="14"/>
                </a:cubicBezTo>
                <a:cubicBezTo>
                  <a:pt x="193" y="6"/>
                  <a:pt x="220" y="1"/>
                  <a:pt x="245" y="1"/>
                </a:cubicBezTo>
                <a:cubicBezTo>
                  <a:pt x="530" y="0"/>
                  <a:pt x="814" y="0"/>
                  <a:pt x="1099" y="1"/>
                </a:cubicBezTo>
                <a:cubicBezTo>
                  <a:pt x="1217" y="1"/>
                  <a:pt x="1323" y="94"/>
                  <a:pt x="1340" y="211"/>
                </a:cubicBezTo>
                <a:cubicBezTo>
                  <a:pt x="1342" y="227"/>
                  <a:pt x="1344" y="243"/>
                  <a:pt x="1344" y="259"/>
                </a:cubicBezTo>
                <a:cubicBezTo>
                  <a:pt x="1344" y="397"/>
                  <a:pt x="1344" y="536"/>
                  <a:pt x="1344" y="675"/>
                </a:cubicBezTo>
                <a:close/>
                <a:moveTo>
                  <a:pt x="784" y="785"/>
                </a:moveTo>
                <a:cubicBezTo>
                  <a:pt x="793" y="785"/>
                  <a:pt x="800" y="785"/>
                  <a:pt x="807" y="785"/>
                </a:cubicBezTo>
                <a:cubicBezTo>
                  <a:pt x="889" y="785"/>
                  <a:pt x="970" y="785"/>
                  <a:pt x="1051" y="785"/>
                </a:cubicBezTo>
                <a:cubicBezTo>
                  <a:pt x="1099" y="785"/>
                  <a:pt x="1120" y="764"/>
                  <a:pt x="1120" y="717"/>
                </a:cubicBezTo>
                <a:cubicBezTo>
                  <a:pt x="1120" y="687"/>
                  <a:pt x="1120" y="657"/>
                  <a:pt x="1120" y="627"/>
                </a:cubicBezTo>
                <a:cubicBezTo>
                  <a:pt x="1120" y="582"/>
                  <a:pt x="1099" y="561"/>
                  <a:pt x="1054" y="561"/>
                </a:cubicBezTo>
                <a:cubicBezTo>
                  <a:pt x="971" y="561"/>
                  <a:pt x="889" y="561"/>
                  <a:pt x="806" y="561"/>
                </a:cubicBezTo>
                <a:cubicBezTo>
                  <a:pt x="799" y="561"/>
                  <a:pt x="792" y="561"/>
                  <a:pt x="784" y="561"/>
                </a:cubicBezTo>
                <a:cubicBezTo>
                  <a:pt x="784" y="551"/>
                  <a:pt x="784" y="543"/>
                  <a:pt x="784" y="536"/>
                </a:cubicBezTo>
                <a:cubicBezTo>
                  <a:pt x="784" y="455"/>
                  <a:pt x="784" y="374"/>
                  <a:pt x="784" y="292"/>
                </a:cubicBezTo>
                <a:cubicBezTo>
                  <a:pt x="784" y="246"/>
                  <a:pt x="763" y="225"/>
                  <a:pt x="717" y="225"/>
                </a:cubicBezTo>
                <a:cubicBezTo>
                  <a:pt x="687" y="225"/>
                  <a:pt x="656" y="224"/>
                  <a:pt x="625" y="225"/>
                </a:cubicBezTo>
                <a:cubicBezTo>
                  <a:pt x="582" y="225"/>
                  <a:pt x="560" y="246"/>
                  <a:pt x="560" y="289"/>
                </a:cubicBezTo>
                <a:cubicBezTo>
                  <a:pt x="560" y="372"/>
                  <a:pt x="560" y="455"/>
                  <a:pt x="560" y="537"/>
                </a:cubicBezTo>
                <a:cubicBezTo>
                  <a:pt x="560" y="544"/>
                  <a:pt x="560" y="552"/>
                  <a:pt x="560" y="561"/>
                </a:cubicBezTo>
                <a:cubicBezTo>
                  <a:pt x="551" y="561"/>
                  <a:pt x="544" y="561"/>
                  <a:pt x="537" y="561"/>
                </a:cubicBezTo>
                <a:cubicBezTo>
                  <a:pt x="456" y="561"/>
                  <a:pt x="375" y="561"/>
                  <a:pt x="295" y="561"/>
                </a:cubicBezTo>
                <a:cubicBezTo>
                  <a:pt x="243" y="561"/>
                  <a:pt x="224" y="580"/>
                  <a:pt x="224" y="632"/>
                </a:cubicBezTo>
                <a:cubicBezTo>
                  <a:pt x="224" y="661"/>
                  <a:pt x="224" y="689"/>
                  <a:pt x="224" y="718"/>
                </a:cubicBezTo>
                <a:cubicBezTo>
                  <a:pt x="224" y="763"/>
                  <a:pt x="245" y="784"/>
                  <a:pt x="290" y="785"/>
                </a:cubicBezTo>
                <a:cubicBezTo>
                  <a:pt x="373" y="785"/>
                  <a:pt x="455" y="785"/>
                  <a:pt x="538" y="785"/>
                </a:cubicBezTo>
                <a:cubicBezTo>
                  <a:pt x="545" y="785"/>
                  <a:pt x="552" y="785"/>
                  <a:pt x="560" y="785"/>
                </a:cubicBezTo>
                <a:cubicBezTo>
                  <a:pt x="560" y="795"/>
                  <a:pt x="560" y="802"/>
                  <a:pt x="560" y="809"/>
                </a:cubicBezTo>
                <a:cubicBezTo>
                  <a:pt x="560" y="889"/>
                  <a:pt x="560" y="969"/>
                  <a:pt x="560" y="1049"/>
                </a:cubicBezTo>
                <a:cubicBezTo>
                  <a:pt x="560" y="1102"/>
                  <a:pt x="579" y="1121"/>
                  <a:pt x="633" y="1121"/>
                </a:cubicBezTo>
                <a:cubicBezTo>
                  <a:pt x="661" y="1121"/>
                  <a:pt x="689" y="1121"/>
                  <a:pt x="717" y="1121"/>
                </a:cubicBezTo>
                <a:cubicBezTo>
                  <a:pt x="763" y="1120"/>
                  <a:pt x="784" y="1100"/>
                  <a:pt x="784" y="1054"/>
                </a:cubicBezTo>
                <a:cubicBezTo>
                  <a:pt x="784" y="965"/>
                  <a:pt x="784" y="876"/>
                  <a:pt x="784" y="78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4" name="Freeform 19">
            <a:extLst>
              <a:ext uri="{FF2B5EF4-FFF2-40B4-BE49-F238E27FC236}">
                <a16:creationId xmlns:a16="http://schemas.microsoft.com/office/drawing/2014/main" id="{39AABF84-E39C-464A-B78E-B4955CE12DC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69544" y="5845873"/>
            <a:ext cx="1714984" cy="1707650"/>
          </a:xfrm>
          <a:custGeom>
            <a:avLst/>
            <a:gdLst>
              <a:gd name="T0" fmla="*/ 1344 w 1344"/>
              <a:gd name="T1" fmla="*/ 675 h 1345"/>
              <a:gd name="T2" fmla="*/ 1344 w 1344"/>
              <a:gd name="T3" fmla="*/ 1099 h 1345"/>
              <a:gd name="T4" fmla="*/ 1177 w 1344"/>
              <a:gd name="T5" fmla="*/ 1330 h 1345"/>
              <a:gd name="T6" fmla="*/ 1099 w 1344"/>
              <a:gd name="T7" fmla="*/ 1344 h 1345"/>
              <a:gd name="T8" fmla="*/ 245 w 1344"/>
              <a:gd name="T9" fmla="*/ 1344 h 1345"/>
              <a:gd name="T10" fmla="*/ 4 w 1344"/>
              <a:gd name="T11" fmla="*/ 1134 h 1345"/>
              <a:gd name="T12" fmla="*/ 0 w 1344"/>
              <a:gd name="T13" fmla="*/ 1096 h 1345"/>
              <a:gd name="T14" fmla="*/ 0 w 1344"/>
              <a:gd name="T15" fmla="*/ 249 h 1345"/>
              <a:gd name="T16" fmla="*/ 169 w 1344"/>
              <a:gd name="T17" fmla="*/ 14 h 1345"/>
              <a:gd name="T18" fmla="*/ 245 w 1344"/>
              <a:gd name="T19" fmla="*/ 1 h 1345"/>
              <a:gd name="T20" fmla="*/ 1099 w 1344"/>
              <a:gd name="T21" fmla="*/ 1 h 1345"/>
              <a:gd name="T22" fmla="*/ 1340 w 1344"/>
              <a:gd name="T23" fmla="*/ 211 h 1345"/>
              <a:gd name="T24" fmla="*/ 1344 w 1344"/>
              <a:gd name="T25" fmla="*/ 259 h 1345"/>
              <a:gd name="T26" fmla="*/ 1344 w 1344"/>
              <a:gd name="T27" fmla="*/ 675 h 1345"/>
              <a:gd name="T28" fmla="*/ 674 w 1344"/>
              <a:gd name="T29" fmla="*/ 561 h 1345"/>
              <a:gd name="T30" fmla="*/ 286 w 1344"/>
              <a:gd name="T31" fmla="*/ 561 h 1345"/>
              <a:gd name="T32" fmla="*/ 224 w 1344"/>
              <a:gd name="T33" fmla="*/ 623 h 1345"/>
              <a:gd name="T34" fmla="*/ 224 w 1344"/>
              <a:gd name="T35" fmla="*/ 725 h 1345"/>
              <a:gd name="T36" fmla="*/ 284 w 1344"/>
              <a:gd name="T37" fmla="*/ 784 h 1345"/>
              <a:gd name="T38" fmla="*/ 1060 w 1344"/>
              <a:gd name="T39" fmla="*/ 784 h 1345"/>
              <a:gd name="T40" fmla="*/ 1120 w 1344"/>
              <a:gd name="T41" fmla="*/ 724 h 1345"/>
              <a:gd name="T42" fmla="*/ 1120 w 1344"/>
              <a:gd name="T43" fmla="*/ 626 h 1345"/>
              <a:gd name="T44" fmla="*/ 1054 w 1344"/>
              <a:gd name="T45" fmla="*/ 561 h 1345"/>
              <a:gd name="T46" fmla="*/ 674 w 1344"/>
              <a:gd name="T47" fmla="*/ 561 h 1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344" h="1345">
                <a:moveTo>
                  <a:pt x="1344" y="675"/>
                </a:moveTo>
                <a:cubicBezTo>
                  <a:pt x="1344" y="816"/>
                  <a:pt x="1344" y="957"/>
                  <a:pt x="1344" y="1099"/>
                </a:cubicBezTo>
                <a:cubicBezTo>
                  <a:pt x="1344" y="1212"/>
                  <a:pt x="1263" y="1299"/>
                  <a:pt x="1177" y="1330"/>
                </a:cubicBezTo>
                <a:cubicBezTo>
                  <a:pt x="1152" y="1339"/>
                  <a:pt x="1125" y="1344"/>
                  <a:pt x="1099" y="1344"/>
                </a:cubicBezTo>
                <a:cubicBezTo>
                  <a:pt x="814" y="1345"/>
                  <a:pt x="530" y="1345"/>
                  <a:pt x="245" y="1344"/>
                </a:cubicBezTo>
                <a:cubicBezTo>
                  <a:pt x="127" y="1344"/>
                  <a:pt x="22" y="1251"/>
                  <a:pt x="4" y="1134"/>
                </a:cubicBezTo>
                <a:cubicBezTo>
                  <a:pt x="2" y="1122"/>
                  <a:pt x="0" y="1109"/>
                  <a:pt x="0" y="1096"/>
                </a:cubicBezTo>
                <a:cubicBezTo>
                  <a:pt x="0" y="814"/>
                  <a:pt x="0" y="531"/>
                  <a:pt x="0" y="249"/>
                </a:cubicBezTo>
                <a:cubicBezTo>
                  <a:pt x="0" y="132"/>
                  <a:pt x="83" y="44"/>
                  <a:pt x="169" y="14"/>
                </a:cubicBezTo>
                <a:cubicBezTo>
                  <a:pt x="193" y="6"/>
                  <a:pt x="220" y="1"/>
                  <a:pt x="245" y="1"/>
                </a:cubicBezTo>
                <a:cubicBezTo>
                  <a:pt x="530" y="0"/>
                  <a:pt x="814" y="0"/>
                  <a:pt x="1099" y="1"/>
                </a:cubicBezTo>
                <a:cubicBezTo>
                  <a:pt x="1217" y="1"/>
                  <a:pt x="1323" y="94"/>
                  <a:pt x="1340" y="211"/>
                </a:cubicBezTo>
                <a:cubicBezTo>
                  <a:pt x="1343" y="227"/>
                  <a:pt x="1344" y="243"/>
                  <a:pt x="1344" y="259"/>
                </a:cubicBezTo>
                <a:cubicBezTo>
                  <a:pt x="1344" y="397"/>
                  <a:pt x="1344" y="536"/>
                  <a:pt x="1344" y="675"/>
                </a:cubicBezTo>
                <a:close/>
                <a:moveTo>
                  <a:pt x="674" y="561"/>
                </a:moveTo>
                <a:cubicBezTo>
                  <a:pt x="545" y="561"/>
                  <a:pt x="415" y="560"/>
                  <a:pt x="286" y="561"/>
                </a:cubicBezTo>
                <a:cubicBezTo>
                  <a:pt x="247" y="561"/>
                  <a:pt x="224" y="583"/>
                  <a:pt x="224" y="623"/>
                </a:cubicBezTo>
                <a:cubicBezTo>
                  <a:pt x="224" y="657"/>
                  <a:pt x="224" y="691"/>
                  <a:pt x="224" y="725"/>
                </a:cubicBezTo>
                <a:cubicBezTo>
                  <a:pt x="225" y="762"/>
                  <a:pt x="247" y="784"/>
                  <a:pt x="284" y="784"/>
                </a:cubicBezTo>
                <a:cubicBezTo>
                  <a:pt x="543" y="785"/>
                  <a:pt x="801" y="785"/>
                  <a:pt x="1060" y="784"/>
                </a:cubicBezTo>
                <a:cubicBezTo>
                  <a:pt x="1097" y="784"/>
                  <a:pt x="1120" y="761"/>
                  <a:pt x="1120" y="724"/>
                </a:cubicBezTo>
                <a:cubicBezTo>
                  <a:pt x="1120" y="692"/>
                  <a:pt x="1120" y="659"/>
                  <a:pt x="1120" y="626"/>
                </a:cubicBezTo>
                <a:cubicBezTo>
                  <a:pt x="1120" y="582"/>
                  <a:pt x="1099" y="561"/>
                  <a:pt x="1054" y="561"/>
                </a:cubicBezTo>
                <a:cubicBezTo>
                  <a:pt x="927" y="561"/>
                  <a:pt x="800" y="561"/>
                  <a:pt x="674" y="561"/>
                </a:cubicBez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B808BEB-8700-41A7-B465-1F3EE76C0A7B}"/>
              </a:ext>
            </a:extLst>
          </p:cNvPr>
          <p:cNvSpPr>
            <a:spLocks/>
          </p:cNvSpPr>
          <p:nvPr/>
        </p:nvSpPr>
        <p:spPr>
          <a:xfrm>
            <a:off x="8713569" y="3766350"/>
            <a:ext cx="2305672" cy="2301690"/>
          </a:xfrm>
          <a:prstGeom prst="ellipse">
            <a:avLst/>
          </a:prstGeom>
          <a:solidFill>
            <a:schemeClr val="accent4">
              <a:alpha val="50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en-IN" sz="2000" dirty="0">
                <a:solidFill>
                  <a:srgbClr val="000000"/>
                </a:solidFill>
              </a:rPr>
              <a:t>Lorem ipsum dolor sit amet, consectetuer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B760621D-87DF-41E9-A10D-D6C83C6A2BA1}"/>
              </a:ext>
            </a:extLst>
          </p:cNvPr>
          <p:cNvSpPr>
            <a:spLocks/>
          </p:cNvSpPr>
          <p:nvPr/>
        </p:nvSpPr>
        <p:spPr>
          <a:xfrm>
            <a:off x="11088414" y="1865888"/>
            <a:ext cx="2305672" cy="2301690"/>
          </a:xfrm>
          <a:prstGeom prst="ellipse">
            <a:avLst/>
          </a:prstGeom>
          <a:solidFill>
            <a:schemeClr val="accent4">
              <a:alpha val="50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en-IN" sz="2000" dirty="0">
                <a:solidFill>
                  <a:srgbClr val="000000"/>
                </a:solidFill>
              </a:rPr>
              <a:t>Lorem ipsum dolor sit amet, consectetuer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82CB95A3-B04D-4583-8363-26ED9FD90B46}"/>
              </a:ext>
            </a:extLst>
          </p:cNvPr>
          <p:cNvSpPr>
            <a:spLocks/>
          </p:cNvSpPr>
          <p:nvPr/>
        </p:nvSpPr>
        <p:spPr>
          <a:xfrm>
            <a:off x="13463259" y="3786237"/>
            <a:ext cx="2305672" cy="2301690"/>
          </a:xfrm>
          <a:prstGeom prst="ellipse">
            <a:avLst/>
          </a:prstGeom>
          <a:solidFill>
            <a:schemeClr val="accent4">
              <a:alpha val="50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en-IN" sz="2000" dirty="0">
                <a:solidFill>
                  <a:srgbClr val="000000"/>
                </a:solidFill>
              </a:rPr>
              <a:t>Lorem ipsum dolor sit amet, consectetuer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EBD3870-C460-4CA3-AA3F-6AE0FD63F525}"/>
              </a:ext>
            </a:extLst>
          </p:cNvPr>
          <p:cNvSpPr>
            <a:spLocks/>
          </p:cNvSpPr>
          <p:nvPr/>
        </p:nvSpPr>
        <p:spPr>
          <a:xfrm>
            <a:off x="3080920" y="5318719"/>
            <a:ext cx="2305672" cy="2301690"/>
          </a:xfrm>
          <a:prstGeom prst="ellipse">
            <a:avLst/>
          </a:prstGeom>
          <a:solidFill>
            <a:schemeClr val="accent6">
              <a:alpha val="50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en-IN" sz="2000" dirty="0">
                <a:solidFill>
                  <a:srgbClr val="000000"/>
                </a:solidFill>
              </a:rPr>
              <a:t>Lorem ipsum dolor sit amet, consectetuer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163A867-05DC-4B2F-A115-E0EA80033B98}"/>
              </a:ext>
            </a:extLst>
          </p:cNvPr>
          <p:cNvSpPr>
            <a:spLocks/>
          </p:cNvSpPr>
          <p:nvPr/>
        </p:nvSpPr>
        <p:spPr>
          <a:xfrm>
            <a:off x="5305025" y="3217969"/>
            <a:ext cx="2305672" cy="2301690"/>
          </a:xfrm>
          <a:prstGeom prst="ellipse">
            <a:avLst/>
          </a:prstGeom>
          <a:solidFill>
            <a:schemeClr val="accent6">
              <a:alpha val="50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en-IN" sz="2000" dirty="0">
                <a:solidFill>
                  <a:srgbClr val="000000"/>
                </a:solidFill>
              </a:rPr>
              <a:t>Lorem ipsum dolor sit amet, consectetu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AA5F92-500E-5419-718B-BFE99C819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4908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0</TotalTime>
  <Words>42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Framework slide – Weighing Scale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0</cp:revision>
  <dcterms:created xsi:type="dcterms:W3CDTF">2006-08-16T00:00:00Z</dcterms:created>
  <dcterms:modified xsi:type="dcterms:W3CDTF">2025-10-06T09:45:46Z</dcterms:modified>
  <cp:category/>
  <dc:identifier>DAGkDf5R9EM</dc:identifier>
</cp:coreProperties>
</file>